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sldIdLst>
    <p:sldId id="256" r:id="rId2"/>
    <p:sldId id="257" r:id="rId7"/>
    <p:sldId id="258" r:id="rId8"/>
  </p:sldIdLst>
  <p:sldSz cx="9144000" cy="6858000" type="screen4x3"/>
  <p:notesSz cx="6858000" cy="9144000"/>
  <p:defaultTextStyle>
    <a:defPPr>
      <a:defRPr lang="en-US"/>
    </a:defPPr>
    <a:lvl1pPr marL="0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790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581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371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162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3952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6744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399534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2325" algn="l" defTabSz="685581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93" d="100"/>
          <a:sy n="93" d="100"/>
        </p:scale>
        <p:origin x="2082" y="30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presProps" Target="presProps.xml"/><Relationship Id="rId4" Type="http://schemas.openxmlformats.org/officeDocument/2006/relationships/viewProps" Target="viewProps.xml"/><Relationship Id="rId5" Type="http://schemas.openxmlformats.org/officeDocument/2006/relationships/theme" Target="theme/theme1.xml"/><Relationship Id="rId6" Type="http://schemas.openxmlformats.org/officeDocument/2006/relationships/tableStyles" Target="tableStyles.xml"/><Relationship Id="rId7" Type="http://schemas.openxmlformats.org/officeDocument/2006/relationships/slide" Target="slides/slide2.xml"/><Relationship Id="rId8" Type="http://schemas.openxmlformats.org/officeDocument/2006/relationships/slide" Target="slides/slide3.xml"/></Relationship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Relationship Id="rId3" Type="http://schemas.openxmlformats.org/officeDocument/2006/relationships/image" Target="../media/image2.png"/><Relationship Id="rId4" Type="http://schemas.openxmlformats.org/officeDocument/2006/relationships/image" Target="../media/image12.png"/><Relationship Id="rId5" Type="http://schemas.openxmlformats.org/officeDocument/2006/relationships/image" Target="../media/image10.pn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6.jpeg"/><Relationship Id="rId3" Type="http://schemas.openxmlformats.org/officeDocument/2006/relationships/image" Target="../media/image2.png"/><Relationship Id="rId4" Type="http://schemas.openxmlformats.org/officeDocument/2006/relationships/image" Target="../media/image12.png"/><Relationship Id="rId5" Type="http://schemas.openxmlformats.org/officeDocument/2006/relationships/image" Target="../media/image10.png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7.jpeg"/><Relationship Id="rId3" Type="http://schemas.openxmlformats.org/officeDocument/2006/relationships/image" Target="../media/image2.png"/><Relationship Id="rId4" Type="http://schemas.openxmlformats.org/officeDocument/2006/relationships/image" Target="../media/image12.png"/><Relationship Id="rId5" Type="http://schemas.openxmlformats.org/officeDocument/2006/relationships/image" Target="../media/image10.png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18.png"/><Relationship Id="rId4" Type="http://schemas.openxmlformats.org/officeDocument/2006/relationships/image" Target="../media/image10.png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9.jpeg"/><Relationship Id="rId3" Type="http://schemas.openxmlformats.org/officeDocument/2006/relationships/image" Target="../media/image2.png"/><Relationship Id="rId4" Type="http://schemas.openxmlformats.org/officeDocument/2006/relationships/image" Target="../media/image20.png"/><Relationship Id="rId5" Type="http://schemas.openxmlformats.org/officeDocument/2006/relationships/image" Target="../media/image10.png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1.jpeg"/><Relationship Id="rId3" Type="http://schemas.openxmlformats.org/officeDocument/2006/relationships/image" Target="../media/image2.png"/><Relationship Id="rId4" Type="http://schemas.openxmlformats.org/officeDocument/2006/relationships/image" Target="../media/image10.png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2.jpeg"/><Relationship Id="rId3" Type="http://schemas.openxmlformats.org/officeDocument/2006/relationships/image" Target="../media/image2.png"/><Relationship Id="rId4" Type="http://schemas.openxmlformats.org/officeDocument/2006/relationships/image" Target="../media/image20.png"/><Relationship Id="rId5" Type="http://schemas.openxmlformats.org/officeDocument/2006/relationships/image" Target="../media/image10.png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jpeg"/><Relationship Id="rId3" Type="http://schemas.openxmlformats.org/officeDocument/2006/relationships/image" Target="../media/image2.png"/><Relationship Id="rId4" Type="http://schemas.openxmlformats.org/officeDocument/2006/relationships/image" Target="../media/image20.png"/><Relationship Id="rId5" Type="http://schemas.openxmlformats.org/officeDocument/2006/relationships/image" Target="../media/image10.png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4.jpeg"/><Relationship Id="rId3" Type="http://schemas.openxmlformats.org/officeDocument/2006/relationships/image" Target="../media/image2.png"/><Relationship Id="rId4" Type="http://schemas.openxmlformats.org/officeDocument/2006/relationships/image" Target="../media/image20.png"/><Relationship Id="rId5" Type="http://schemas.openxmlformats.org/officeDocument/2006/relationships/image" Target="../media/image10.png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5.jpeg"/><Relationship Id="rId3" Type="http://schemas.openxmlformats.org/officeDocument/2006/relationships/image" Target="../media/image2.png"/><Relationship Id="rId4" Type="http://schemas.openxmlformats.org/officeDocument/2006/relationships/image" Target="../media/image20.png"/><Relationship Id="rId5" Type="http://schemas.openxmlformats.org/officeDocument/2006/relationships/image" Target="../media/image10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6.png"/><Relationship Id="rId3" Type="http://schemas.openxmlformats.org/officeDocument/2006/relationships/image" Target="../media/image2.png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6.png"/><Relationship Id="rId3" Type="http://schemas.openxmlformats.org/officeDocument/2006/relationships/image" Target="../media/image2.png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5.jpeg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2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Relationship Id="rId5" Type="http://schemas.openxmlformats.org/officeDocument/2006/relationships/image" Target="../media/image6.png"/><Relationship Id="rId6" Type="http://schemas.openxmlformats.org/officeDocument/2006/relationships/image" Target="../media/image7.pn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8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9.png"/><Relationship Id="rId4" Type="http://schemas.openxmlformats.org/officeDocument/2006/relationships/image" Target="../media/image10.pn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eg"/><Relationship Id="rId3" Type="http://schemas.openxmlformats.org/officeDocument/2006/relationships/image" Target="../media/image2.png"/><Relationship Id="rId4" Type="http://schemas.openxmlformats.org/officeDocument/2006/relationships/image" Target="../media/image12.png"/><Relationship Id="rId5" Type="http://schemas.openxmlformats.org/officeDocument/2006/relationships/image" Target="../media/image10.pn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3.jpeg"/><Relationship Id="rId3" Type="http://schemas.openxmlformats.org/officeDocument/2006/relationships/image" Target="../media/image2.png"/><Relationship Id="rId4" Type="http://schemas.openxmlformats.org/officeDocument/2006/relationships/image" Target="../media/image12.png"/><Relationship Id="rId5" Type="http://schemas.openxmlformats.org/officeDocument/2006/relationships/image" Target="../media/image10.png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4.jpeg"/><Relationship Id="rId3" Type="http://schemas.openxmlformats.org/officeDocument/2006/relationships/image" Target="../media/image2.png"/><Relationship Id="rId4" Type="http://schemas.openxmlformats.org/officeDocument/2006/relationships/image" Target="../media/image12.png"/><Relationship Id="rId5" Type="http://schemas.openxmlformats.org/officeDocument/2006/relationships/image" Target="../media/image10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EC1D0E1-91FC-A417-1FFD-26F43E85061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" y="2"/>
            <a:ext cx="9142875" cy="472666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612000" tIns="360000" rIns="576000" bIns="360000" anchor="ctr" anchorCtr="0">
            <a:noAutofit/>
          </a:bodyPr>
          <a:lstStyle>
            <a:lvl1pPr algn="l">
              <a:defRPr sz="738" b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pic>
        <p:nvPicPr>
          <p:cNvPr id="5" name="Picture 4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F48D1868-97A3-C742-EC94-AEE3634B3A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33" y="4772905"/>
            <a:ext cx="6938053" cy="17614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C192214-A577-F6FA-F8BE-05F65965446A}"/>
              </a:ext>
            </a:extLst>
          </p:cNvPr>
          <p:cNvSpPr/>
          <p:nvPr/>
        </p:nvSpPr>
        <p:spPr>
          <a:xfrm>
            <a:off x="1" y="4726670"/>
            <a:ext cx="9142875" cy="852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8BF912-8F07-382F-3BF0-FCBB3DF270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658" y="5266432"/>
            <a:ext cx="6290582" cy="642939"/>
          </a:xfrm>
        </p:spPr>
        <p:txBody>
          <a:bodyPr/>
          <a:lstStyle>
            <a:lvl1pPr>
              <a:defRPr sz="264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176188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6231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0F300A-43D0-4F69-63AA-55F7937429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-269"/>
            <a:ext cx="2222500" cy="2921521"/>
          </a:xfrm>
          <a:prstGeom prst="rect">
            <a:avLst/>
          </a:prstGeom>
        </p:spPr>
      </p:pic>
      <p:pic>
        <p:nvPicPr>
          <p:cNvPr id="4" name="Picture 3" descr="A black and white logo&#10;&#10;Description automatically generated">
            <a:extLst>
              <a:ext uri="{FF2B5EF4-FFF2-40B4-BE49-F238E27FC236}">
                <a16:creationId xmlns:a16="http://schemas.microsoft.com/office/drawing/2014/main" id="{C2D40904-648D-61EA-5880-D60A68FA6F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1389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6231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3C13907-46BD-B9FF-E25B-A3D3BD2D05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-269"/>
            <a:ext cx="2222500" cy="2921521"/>
          </a:xfrm>
          <a:prstGeom prst="rect">
            <a:avLst/>
          </a:prstGeom>
        </p:spPr>
      </p:pic>
      <p:pic>
        <p:nvPicPr>
          <p:cNvPr id="4" name="Picture 3" descr="A black and white logo&#10;&#10;Description automatically generated">
            <a:extLst>
              <a:ext uri="{FF2B5EF4-FFF2-40B4-BE49-F238E27FC236}">
                <a16:creationId xmlns:a16="http://schemas.microsoft.com/office/drawing/2014/main" id="{FC37A336-01CC-ED33-BEAD-2B7A4C1A2F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5040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6231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9846E42-95E9-EF3C-E1F5-869A02E30D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-269"/>
            <a:ext cx="2222500" cy="2921521"/>
          </a:xfrm>
          <a:prstGeom prst="rect">
            <a:avLst/>
          </a:prstGeom>
        </p:spPr>
      </p:pic>
      <p:pic>
        <p:nvPicPr>
          <p:cNvPr id="4" name="Picture 3" descr="A black and white logo&#10;&#10;Description automatically generated">
            <a:extLst>
              <a:ext uri="{FF2B5EF4-FFF2-40B4-BE49-F238E27FC236}">
                <a16:creationId xmlns:a16="http://schemas.microsoft.com/office/drawing/2014/main" id="{3676F1DE-3AE7-36B5-AA86-731C44995C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4430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EB74014D-12F6-BA44-993B-B0D0212F00F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2" y="-2"/>
            <a:ext cx="4571999" cy="6550619"/>
          </a:xfrm>
          <a:solidFill>
            <a:srgbClr val="E0DFDB"/>
          </a:solidFill>
        </p:spPr>
        <p:txBody>
          <a:bodyPr lIns="4212000" tIns="216000" rIns="720000" bIns="720000" anchor="b" anchorCtr="0"/>
          <a:lstStyle>
            <a:lvl1pPr algn="r">
              <a:defRPr sz="738">
                <a:solidFill>
                  <a:schemeClr val="tx1"/>
                </a:solidFill>
              </a:defRPr>
            </a:lvl1pPr>
          </a:lstStyle>
          <a:p>
            <a:r>
              <a:rPr lang="en-US"/>
              <a:t>To ad an image, select ‘Insert Picture’ </a:t>
            </a:r>
            <a:endParaRPr lang="en-AU"/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AF5FD4E7-9912-0C28-C57D-2FB38B662D9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" y="1"/>
            <a:ext cx="7957963" cy="6543848"/>
          </a:xfrm>
          <a:prstGeom prst="rect">
            <a:avLst/>
          </a:prstGeom>
          <a:gradFill>
            <a:gsLst>
              <a:gs pos="81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3pPr>
            <a:lvl4pPr marL="0" indent="0">
              <a:spcAft>
                <a:spcPts val="0"/>
              </a:spcAft>
              <a:buNone/>
              <a:defRPr sz="1400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D3EA190-56C2-3204-6D64-C6E674F3516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911143A-981F-84C9-1173-6D89B6622E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8100" y="0"/>
            <a:ext cx="2755900" cy="3183467"/>
          </a:xfrm>
          <a:prstGeom prst="rect">
            <a:avLst/>
          </a:prstGeom>
        </p:spPr>
      </p:pic>
      <p:pic>
        <p:nvPicPr>
          <p:cNvPr id="5" name="Picture 4" descr="A black and white logo&#10;&#10;Description automatically generated">
            <a:extLst>
              <a:ext uri="{FF2B5EF4-FFF2-40B4-BE49-F238E27FC236}">
                <a16:creationId xmlns:a16="http://schemas.microsoft.com/office/drawing/2014/main" id="{E0EA9CC2-00EF-D2FE-9DAC-08BD2C6DA7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3351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 descr="A person wearing a hard hat and yellow shirt&#10;&#10;Description automatically generated with medium confidence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7296" y="6768"/>
            <a:ext cx="3346704" cy="653708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0551176-E5E8-588A-31FD-EE6643A1CA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9780E8F-A634-BF23-D79A-8862269242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8099" y="6765"/>
            <a:ext cx="2755900" cy="3183467"/>
          </a:xfrm>
          <a:prstGeom prst="rect">
            <a:avLst/>
          </a:prstGeom>
        </p:spPr>
      </p:pic>
      <p:pic>
        <p:nvPicPr>
          <p:cNvPr id="7" name="Picture 6" descr="A black and white logo&#10;&#10;Description automatically generated">
            <a:extLst>
              <a:ext uri="{FF2B5EF4-FFF2-40B4-BE49-F238E27FC236}">
                <a16:creationId xmlns:a16="http://schemas.microsoft.com/office/drawing/2014/main" id="{44C9F797-0363-17A2-A570-4D278DADE7B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1374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91961" y="-269"/>
            <a:ext cx="3352038" cy="6544117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0C1DF3E-00D7-7E9D-F9D7-9B7B7B2C21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2" y="1"/>
            <a:ext cx="7725377" cy="6543849"/>
          </a:xfrm>
          <a:prstGeom prst="rect">
            <a:avLst/>
          </a:prstGeom>
          <a:gradFill>
            <a:gsLst>
              <a:gs pos="75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D9EA583-CE5D-17BC-4E0D-83FF6D5CCE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black and white logo&#10;&#10;Description automatically generated">
            <a:extLst>
              <a:ext uri="{FF2B5EF4-FFF2-40B4-BE49-F238E27FC236}">
                <a16:creationId xmlns:a16="http://schemas.microsoft.com/office/drawing/2014/main" id="{F185DABB-E83B-A9A1-DF0E-7E1A383D52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8435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85587" y="-6769"/>
            <a:ext cx="3352038" cy="6550617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0C1DF3E-00D7-7E9D-F9D7-9B7B7B2C21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2" y="-6770"/>
            <a:ext cx="7725377" cy="6550619"/>
          </a:xfrm>
          <a:prstGeom prst="rect">
            <a:avLst/>
          </a:prstGeom>
          <a:gradFill>
            <a:gsLst>
              <a:gs pos="79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A81C3693-CEE3-81A9-B8DE-EA2DBCA83D5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B9ADF42-4965-DE99-7C6C-A5BB8E9E2F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8099" y="6765"/>
            <a:ext cx="2755900" cy="3183467"/>
          </a:xfrm>
          <a:prstGeom prst="rect">
            <a:avLst/>
          </a:prstGeom>
        </p:spPr>
      </p:pic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3EACA691-B803-B7E2-0E75-9D9710BFCF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8068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97296" y="-6769"/>
            <a:ext cx="3346704" cy="6550617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0C1DF3E-00D7-7E9D-F9D7-9B7B7B2C21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2" y="-6770"/>
            <a:ext cx="7725377" cy="6550619"/>
          </a:xfrm>
          <a:prstGeom prst="rect">
            <a:avLst/>
          </a:prstGeom>
          <a:gradFill>
            <a:gsLst>
              <a:gs pos="78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15B78025-90EA-1AC4-4190-EFF1E04BA98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4E4CBA-2E3B-9316-345D-70503EFA20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8099" y="6765"/>
            <a:ext cx="2755900" cy="3183467"/>
          </a:xfrm>
          <a:prstGeom prst="rect">
            <a:avLst/>
          </a:prstGeom>
        </p:spPr>
      </p:pic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650EE79A-3E78-A5F1-2E62-B742D868E34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7927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91962" y="-6769"/>
            <a:ext cx="3352038" cy="6550617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0C1DF3E-00D7-7E9D-F9D7-9B7B7B2C21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2" y="-6769"/>
            <a:ext cx="7725377" cy="6550617"/>
          </a:xfrm>
          <a:prstGeom prst="rect">
            <a:avLst/>
          </a:prstGeom>
          <a:gradFill>
            <a:gsLst>
              <a:gs pos="80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AE0EF3E0-0503-90C3-EF01-1806334308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1F9A5EE-A41E-1300-B17A-A85140B968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8099" y="6765"/>
            <a:ext cx="2755900" cy="3183467"/>
          </a:xfrm>
          <a:prstGeom prst="rect">
            <a:avLst/>
          </a:prstGeom>
        </p:spPr>
      </p:pic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D8916EEA-6B93-86EB-6DBF-0E1D3B0E59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4837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le and gradi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4F8C12-13FD-336D-6EC7-67F143433D0B}"/>
              </a:ext>
            </a:extLst>
          </p:cNvPr>
          <p:cNvSpPr/>
          <p:nvPr/>
        </p:nvSpPr>
        <p:spPr>
          <a:xfrm>
            <a:off x="-1" y="-267"/>
            <a:ext cx="9144000" cy="6858001"/>
          </a:xfrm>
          <a:prstGeom prst="rect">
            <a:avLst/>
          </a:prstGeom>
          <a:solidFill>
            <a:srgbClr val="E0D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7D35B-0262-1B31-D536-1F00BA0A9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91962" y="-6768"/>
            <a:ext cx="3352038" cy="6550616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A0C1DF3E-00D7-7E9D-F9D7-9B7B7B2C21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-2" y="1"/>
            <a:ext cx="7725377" cy="6543849"/>
          </a:xfrm>
          <a:prstGeom prst="rect">
            <a:avLst/>
          </a:prstGeom>
          <a:gradFill>
            <a:gsLst>
              <a:gs pos="78000">
                <a:srgbClr val="E0DFDB"/>
              </a:gs>
              <a:gs pos="100000">
                <a:srgbClr val="E0DFDB">
                  <a:alpha val="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9E2A51-49B0-75C6-0D56-A1DADB449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B4267C02-9C61-63C7-463C-34BE3D4D498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0000" y="742233"/>
            <a:ext cx="6364187" cy="5137880"/>
          </a:xfrm>
          <a:solidFill>
            <a:schemeClr val="bg1"/>
          </a:solidFill>
        </p:spPr>
        <p:txBody>
          <a:bodyPr wrap="square" lIns="360000" tIns="360000" rIns="360000" bIns="360000"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58700D3-867D-651E-EF52-9ED33B1231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8099" y="6765"/>
            <a:ext cx="2755900" cy="3183467"/>
          </a:xfrm>
          <a:prstGeom prst="rect">
            <a:avLst/>
          </a:prstGeom>
        </p:spPr>
      </p:pic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6EFB47D8-014C-B784-56DF-D99464427B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815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5123113-1C08-C01B-20DC-0E297EDD625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8360A8A-359D-1B35-BB60-8E268AF607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0564"/>
            <a:ext cx="9144000" cy="4724400"/>
          </a:xfrm>
          <a:prstGeom prst="rect">
            <a:avLst/>
          </a:prstGeom>
        </p:spPr>
      </p:pic>
      <p:pic>
        <p:nvPicPr>
          <p:cNvPr id="9" name="Picture 8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78160FB2-0E37-B0B2-BCAB-F8D0408092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33" y="4772905"/>
            <a:ext cx="6938054" cy="176147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5964714-F03C-ECE6-81E0-7D7B2B657FBE}"/>
              </a:ext>
            </a:extLst>
          </p:cNvPr>
          <p:cNvSpPr/>
          <p:nvPr/>
        </p:nvSpPr>
        <p:spPr>
          <a:xfrm>
            <a:off x="1" y="4726670"/>
            <a:ext cx="9142875" cy="852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5536246F-DB5E-F4CA-58F1-E8EB3DC41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168F9FA-F0AB-A692-F801-002DD45221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061" y="2294194"/>
            <a:ext cx="7839499" cy="888444"/>
          </a:xfrm>
        </p:spPr>
        <p:txBody>
          <a:bodyPr anchor="b"/>
          <a:lstStyle>
            <a:lvl1pPr>
              <a:defRPr sz="4218"/>
            </a:lvl1pPr>
          </a:lstStyle>
          <a:p>
            <a:r>
              <a:rPr lang="en-US"/>
              <a:t>Click to edit  title</a:t>
            </a:r>
            <a:endParaRPr lang="en-AU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7297163-025A-8B63-7E40-4101DEC55B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55442" y="3174504"/>
            <a:ext cx="7839499" cy="1377512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2847" b="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add subtitle</a:t>
            </a:r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6CF81AF4-8602-4FA4-FD31-B0DE72BC57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2657" y="5514928"/>
            <a:ext cx="3037500" cy="316437"/>
          </a:xfrm>
        </p:spPr>
        <p:txBody>
          <a:bodyPr lIns="0" tIns="0" rIns="0" bIns="0"/>
          <a:lstStyle>
            <a:lvl1pPr algn="l">
              <a:defRPr sz="1793">
                <a:solidFill>
                  <a:schemeClr val="accent1"/>
                </a:solidFill>
              </a:defRPr>
            </a:lvl1pPr>
          </a:lstStyle>
          <a:p>
            <a:fld id="{5BCAD085-E8A6-8845-BD4E-CB4CCA059FC4}" type="datetimeFigureOut">
              <a:rPr lang="en-US" smtClean="0"/>
              <a:t>11/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299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203D937-484E-660D-17A5-FCCC3D066ED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7" b="1298"/>
          <a:stretch/>
        </p:blipFill>
        <p:spPr>
          <a:xfrm>
            <a:off x="0" y="1"/>
            <a:ext cx="9144000" cy="99789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B07D11B-349F-E401-40E1-A74A950F540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harts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A89DDF1E-F978-19B4-EECF-A6D9B64A088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9061" y="1768080"/>
            <a:ext cx="3824713" cy="3946921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12" name="Chart Placeholder 10">
            <a:extLst>
              <a:ext uri="{FF2B5EF4-FFF2-40B4-BE49-F238E27FC236}">
                <a16:creationId xmlns:a16="http://schemas.microsoft.com/office/drawing/2014/main" id="{17C2DE72-BBCB-DA99-753B-A3338848BA6C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670228" y="1768080"/>
            <a:ext cx="3824713" cy="3946921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18579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1448B38-3FE4-83F4-B674-5A5AB831009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7" b="1298"/>
          <a:stretch/>
        </p:blipFill>
        <p:spPr>
          <a:xfrm>
            <a:off x="0" y="1"/>
            <a:ext cx="9144000" cy="99789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F357AB3-BACD-08FF-2321-261F9843A1F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639776-1AE4-B78F-4565-1E1A2163E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C70B34-10DA-3329-AC07-3DF295648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66311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F357AB3-BACD-08FF-2321-261F9843A1F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639776-1AE4-B78F-4565-1E1A2163E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009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717DC3-6BF0-2EFA-2101-BDAC06EFEE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2B4FCA-EECE-6665-4AB9-6D8701791B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7C7B54-EDD6-22B3-84D5-A61FCC1853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660F4D-4C54-1317-DFBB-3269B2D20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BAE3B6-C835-84C9-4FE9-F46EB4F74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8142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-fixed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9944D0B-EF86-EB02-8C76-F7B9003B126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87A043A-1F32-82FE-CDBF-30916321CFD7}"/>
              </a:ext>
            </a:extLst>
          </p:cNvPr>
          <p:cNvSpPr/>
          <p:nvPr/>
        </p:nvSpPr>
        <p:spPr>
          <a:xfrm>
            <a:off x="1" y="6511976"/>
            <a:ext cx="9142875" cy="379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D500845-341C-8793-17AF-883B9232965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FAF738A-BBC1-0517-F019-70133E8180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585"/>
            <a:ext cx="9144000" cy="6519333"/>
          </a:xfrm>
          <a:prstGeom prst="rect">
            <a:avLst/>
          </a:prstGeom>
        </p:spPr>
      </p:pic>
      <p:sp>
        <p:nvSpPr>
          <p:cNvPr id="25" name="Title 5">
            <a:extLst>
              <a:ext uri="{FF2B5EF4-FFF2-40B4-BE49-F238E27FC236}">
                <a16:creationId xmlns:a16="http://schemas.microsoft.com/office/drawing/2014/main" id="{3073BAE5-93D5-42A3-0293-379BDC9925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060" y="2267404"/>
            <a:ext cx="5499030" cy="3385088"/>
          </a:xfrm>
        </p:spPr>
        <p:txBody>
          <a:bodyPr anchor="b"/>
          <a:lstStyle>
            <a:lvl1pPr>
              <a:lnSpc>
                <a:spcPct val="88000"/>
              </a:lnSpc>
              <a:defRPr sz="342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Divider title 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2347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and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68E0F3B-ACD8-601A-75D9-FF5F973F60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286729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68E0F3B-ACD8-601A-75D9-FF5F973F6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748E0E54-1802-13E7-1939-1FAF2B17B390}"/>
              </a:ext>
            </a:extLst>
          </p:cNvPr>
          <p:cNvSpPr/>
          <p:nvPr/>
        </p:nvSpPr>
        <p:spPr>
          <a:xfrm>
            <a:off x="0" y="1"/>
            <a:ext cx="9144000" cy="6857732"/>
          </a:xfrm>
          <a:prstGeom prst="rect">
            <a:avLst/>
          </a:prstGeom>
          <a:solidFill>
            <a:srgbClr val="0088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sp>
        <p:nvSpPr>
          <p:cNvPr id="15" name="Image">
            <a:extLst>
              <a:ext uri="{FF2B5EF4-FFF2-40B4-BE49-F238E27FC236}">
                <a16:creationId xmlns:a16="http://schemas.microsoft.com/office/drawing/2014/main" id="{3162849C-38F5-3F60-2E96-FBDE70FAF29F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126" y="-1"/>
            <a:ext cx="9142875" cy="6506655"/>
          </a:xfrm>
          <a:prstGeom prst="rect">
            <a:avLst/>
          </a:prstGeom>
          <a:noFill/>
        </p:spPr>
        <p:txBody>
          <a:bodyPr wrap="square" lIns="2880000" tIns="360000" rIns="8280000" bIns="360000" anchor="t" anchorCtr="0">
            <a:noAutofit/>
          </a:bodyPr>
          <a:lstStyle>
            <a:lvl1pPr algn="l">
              <a:defRPr sz="738" b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n image, select ‘Insert Picture’.</a:t>
            </a:r>
          </a:p>
        </p:txBody>
      </p:sp>
      <p:sp>
        <p:nvSpPr>
          <p:cNvPr id="3" name="Gradient overlay">
            <a:extLst>
              <a:ext uri="{FF2B5EF4-FFF2-40B4-BE49-F238E27FC236}">
                <a16:creationId xmlns:a16="http://schemas.microsoft.com/office/drawing/2014/main" id="{A56D1C3E-4DAE-F731-539A-9C3493C6318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0" y="-2"/>
            <a:ext cx="9144000" cy="6857731"/>
          </a:xfrm>
          <a:prstGeom prst="rect">
            <a:avLst/>
          </a:prstGeom>
          <a:gradFill>
            <a:gsLst>
              <a:gs pos="52000">
                <a:srgbClr val="008A44">
                  <a:alpha val="0"/>
                </a:srgbClr>
              </a:gs>
              <a:gs pos="18000">
                <a:srgbClr val="008A44">
                  <a:alpha val="45000"/>
                </a:srgbClr>
              </a:gs>
            </a:gsLst>
            <a:lin ang="5400000" scaled="0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Pattern overlay">
            <a:extLst>
              <a:ext uri="{FF2B5EF4-FFF2-40B4-BE49-F238E27FC236}">
                <a16:creationId xmlns:a16="http://schemas.microsoft.com/office/drawing/2014/main" id="{5B9416B0-3BEC-1C4D-BC1A-5775257A636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2"/>
            <a:ext cx="9144000" cy="6857731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3pPr>
            <a:lvl4pPr marL="0" indent="0">
              <a:spcAft>
                <a:spcPts val="0"/>
              </a:spcAft>
              <a:buNone/>
              <a:defRPr sz="738">
                <a:noFill/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738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8F0F4A8-CD5B-350C-03C4-04703B9DC7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534378"/>
            <a:ext cx="9144000" cy="32362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87A043A-1F32-82FE-CDBF-30916321CFD7}"/>
              </a:ext>
            </a:extLst>
          </p:cNvPr>
          <p:cNvSpPr/>
          <p:nvPr/>
        </p:nvSpPr>
        <p:spPr>
          <a:xfrm>
            <a:off x="1" y="6511976"/>
            <a:ext cx="9142875" cy="379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D500845-341C-8793-17AF-883B9232965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168F9FA-F0AB-A692-F801-002DD45221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060" y="2267404"/>
            <a:ext cx="5499030" cy="3385088"/>
          </a:xfrm>
        </p:spPr>
        <p:txBody>
          <a:bodyPr vert="horz" anchor="b"/>
          <a:lstStyle>
            <a:lvl1pPr>
              <a:lnSpc>
                <a:spcPct val="88000"/>
              </a:lnSpc>
              <a:defRPr sz="342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Divider title</a:t>
            </a:r>
            <a:br>
              <a:rPr lang="en-US"/>
            </a:br>
            <a:r>
              <a:rPr lang="en-US"/>
              <a:t>To add a background image, select: </a:t>
            </a:r>
            <a:br>
              <a:rPr lang="en-US"/>
            </a:br>
            <a:r>
              <a:rPr lang="en-US"/>
              <a:t>‘Insert &gt; Picture’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67929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E4F5FAF-260F-0F44-C5A6-B6D5B94D3E3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8D5EDE2-FFF7-5592-0042-10E0CFDAC2E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7" b="2494"/>
          <a:stretch/>
        </p:blipFill>
        <p:spPr>
          <a:xfrm>
            <a:off x="-1" y="175246"/>
            <a:ext cx="7321515" cy="722188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1398136"/>
            <a:ext cx="7886700" cy="45534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and content slid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6F0CA83-2CF5-3929-58A3-96008F0F9533}"/>
              </a:ext>
            </a:extLst>
          </p:cNvPr>
          <p:cNvSpPr/>
          <p:nvPr/>
        </p:nvSpPr>
        <p:spPr>
          <a:xfrm>
            <a:off x="8742164" y="175246"/>
            <a:ext cx="401836" cy="722188"/>
          </a:xfrm>
          <a:prstGeom prst="rect">
            <a:avLst/>
          </a:prstGeom>
          <a:solidFill>
            <a:srgbClr val="008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712"/>
          </a:p>
        </p:txBody>
      </p:sp>
    </p:spTree>
    <p:extLst>
      <p:ext uri="{BB962C8B-B14F-4D97-AF65-F5344CB8AC3E}">
        <p14:creationId xmlns:p14="http://schemas.microsoft.com/office/powerpoint/2010/main" val="1897859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EB74014D-12F6-BA44-993B-B0D0212F00F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26092" y="-2"/>
            <a:ext cx="2217909" cy="6550619"/>
          </a:xfrm>
          <a:solidFill>
            <a:schemeClr val="bg1">
              <a:lumMod val="75000"/>
            </a:schemeClr>
          </a:solidFill>
        </p:spPr>
        <p:txBody>
          <a:bodyPr lIns="216000" tIns="216000" rIns="216000" bIns="216000" anchor="ctr" anchorCtr="0"/>
          <a:lstStyle>
            <a:lvl1pPr>
              <a:defRPr sz="738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570DC20-2691-B494-709C-CCB9710EAF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26090" y="0"/>
            <a:ext cx="2217910" cy="3183467"/>
          </a:xfrm>
          <a:prstGeom prst="rect">
            <a:avLst/>
          </a:prstGeom>
        </p:spPr>
      </p:pic>
      <p:pic>
        <p:nvPicPr>
          <p:cNvPr id="5" name="Picture 4" descr="A black and white logo&#10;&#10;Description automatically generated">
            <a:extLst>
              <a:ext uri="{FF2B5EF4-FFF2-40B4-BE49-F238E27FC236}">
                <a16:creationId xmlns:a16="http://schemas.microsoft.com/office/drawing/2014/main" id="{94F5D268-30AA-A345-99A7-23EE75A2FCD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1535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in an orange shirt petting a dog&#10;&#10;Description automatically generated with medium confidence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232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54841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3F772CF-A2D7-5B6B-9FBF-D08FF27F17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0"/>
            <a:ext cx="2222500" cy="3183467"/>
          </a:xfrm>
          <a:prstGeom prst="rect">
            <a:avLst/>
          </a:prstGeom>
        </p:spPr>
      </p:pic>
      <p:pic>
        <p:nvPicPr>
          <p:cNvPr id="16" name="Picture 15" descr="A black and white logo&#10;&#10;Description automatically generated">
            <a:extLst>
              <a:ext uri="{FF2B5EF4-FFF2-40B4-BE49-F238E27FC236}">
                <a16:creationId xmlns:a16="http://schemas.microsoft.com/office/drawing/2014/main" id="{12DD2899-92E5-603B-DD48-E070F34B5A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0457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6231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69EEFBE-91C6-6744-BB6F-62BCCE9FE6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-269"/>
            <a:ext cx="2222500" cy="2921521"/>
          </a:xfrm>
          <a:prstGeom prst="rect">
            <a:avLst/>
          </a:prstGeom>
        </p:spPr>
      </p:pic>
      <p:pic>
        <p:nvPicPr>
          <p:cNvPr id="10" name="Picture 9" descr="A black and white logo&#10;&#10;Description automatically generated">
            <a:extLst>
              <a:ext uri="{FF2B5EF4-FFF2-40B4-BE49-F238E27FC236}">
                <a16:creationId xmlns:a16="http://schemas.microsoft.com/office/drawing/2014/main" id="{2343837F-8EC0-5CC0-6E61-DCDC2608C37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722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C37244-DE90-EFC7-9731-EBABB2801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6232" y="-269"/>
            <a:ext cx="2207768" cy="65694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0A1A02-47CD-DD73-996C-0B803B1F46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"/>
          <a:stretch/>
        </p:blipFill>
        <p:spPr>
          <a:xfrm>
            <a:off x="0" y="6550618"/>
            <a:ext cx="9144000" cy="4181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650" y="742233"/>
            <a:ext cx="5264944" cy="5137880"/>
          </a:xfrm>
        </p:spPr>
        <p:txBody>
          <a:bodyPr/>
          <a:lstStyle>
            <a:lvl1pPr>
              <a:defRPr sz="2109"/>
            </a:lvl1pPr>
            <a:lvl2pPr>
              <a:defRPr sz="1055"/>
            </a:lvl2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279855B-186B-410B-807E-7423C8B642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0" y="-269"/>
            <a:ext cx="2222500" cy="2921521"/>
          </a:xfrm>
          <a:prstGeom prst="rect">
            <a:avLst/>
          </a:prstGeom>
        </p:spPr>
      </p:pic>
      <p:pic>
        <p:nvPicPr>
          <p:cNvPr id="8" name="Picture 7" descr="A black and white logo&#10;&#10;Description automatically generated">
            <a:extLst>
              <a:ext uri="{FF2B5EF4-FFF2-40B4-BE49-F238E27FC236}">
                <a16:creationId xmlns:a16="http://schemas.microsoft.com/office/drawing/2014/main" id="{D749A6BB-7B2C-5049-3A68-EFE53747F20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86" y="250594"/>
            <a:ext cx="946333" cy="75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11322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theme" Target="../theme/theme1.xml"/><Relationship Id="rId25" Type="http://schemas.openxmlformats.org/officeDocument/2006/relationships/tags" Target="../tags/tag1.xml"/><Relationship Id="rId26" Type="http://schemas.openxmlformats.org/officeDocument/2006/relationships/oleObject" Target="../embeddings/oleObject1.bin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458EF9E-F428-B98C-FE7D-E54C35A9D95B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832140356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95" imgH="394" progId="TCLayout.ActiveDocument.1">
                  <p:embed/>
                </p:oleObj>
              </mc:Choice>
              <mc:Fallback>
                <p:oleObj name="think-cell Slide" r:id="rId26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458EF9E-F428-B98C-FE7D-E54C35A9D9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9060" y="244928"/>
            <a:ext cx="6290582" cy="64293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9060" y="1398135"/>
            <a:ext cx="7759444" cy="477882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39643" y="6540500"/>
            <a:ext cx="1468862" cy="3164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38" b="1">
                <a:solidFill>
                  <a:schemeClr val="bg1"/>
                </a:solidFill>
              </a:defRPr>
            </a:lvl1pPr>
          </a:lstStyle>
          <a:p>
            <a:fld id="{5BCAD085-E8A6-8845-BD4E-CB4CCA059FC4}" type="datetimeFigureOut">
              <a:rPr lang="en-US" smtClean="0"/>
              <a:t>11/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1" y="6540501"/>
            <a:ext cx="4481428" cy="3175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38" b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5350" y="6543849"/>
            <a:ext cx="466962" cy="3138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38" b="1">
                <a:solidFill>
                  <a:schemeClr val="bg1"/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575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</p:sldLayoutIdLst>
  <p:txStyles>
    <p:titleStyle>
      <a:lvl1pPr algn="l" defTabSz="482163" rtl="0" eaLnBrk="1" latinLnBrk="0" hangingPunct="1">
        <a:lnSpc>
          <a:spcPct val="90000"/>
        </a:lnSpc>
        <a:spcBef>
          <a:spcPct val="0"/>
        </a:spcBef>
        <a:buNone/>
        <a:defRPr sz="2004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949"/>
        </a:spcAft>
        <a:buFont typeface="Arial" panose="020B0604020202020204" pitchFamily="34" charset="0"/>
        <a:buNone/>
        <a:defRPr sz="1793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949"/>
        </a:spcAft>
        <a:buFont typeface="Arial" panose="020B0604020202020204" pitchFamily="34" charset="0"/>
        <a:buNone/>
        <a:defRPr sz="1266" b="1" kern="1200">
          <a:solidFill>
            <a:schemeClr val="tx2"/>
          </a:solidFill>
          <a:latin typeface="+mn-lt"/>
          <a:ea typeface="+mn-ea"/>
          <a:cs typeface="+mn-cs"/>
        </a:defRPr>
      </a:lvl2pPr>
      <a:lvl3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Font typeface="Arial" panose="020B0604020202020204" pitchFamily="34" charset="0"/>
        <a:buNone/>
        <a:defRPr sz="1055" kern="1200">
          <a:solidFill>
            <a:schemeClr val="tx2"/>
          </a:solidFill>
          <a:latin typeface="+mn-lt"/>
          <a:ea typeface="+mn-ea"/>
          <a:cs typeface="+mn-cs"/>
        </a:defRPr>
      </a:lvl3pPr>
      <a:lvl4pPr marL="132880" indent="-13288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Clr>
          <a:schemeClr val="accent1"/>
        </a:buClr>
        <a:buFont typeface="Arial" panose="020B0604020202020204" pitchFamily="34" charset="0"/>
        <a:buChar char="•"/>
        <a:defRPr sz="1055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265759" indent="-265759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Clr>
          <a:schemeClr val="accent1"/>
        </a:buClr>
        <a:buFont typeface="+mj-lt"/>
        <a:buAutoNum type="arabicPeriod"/>
        <a:defRPr sz="1055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Font typeface="Arial" panose="020B0604020202020204" pitchFamily="34" charset="0"/>
        <a:buNone/>
        <a:defRPr sz="1055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Font typeface="Arial" panose="020B0604020202020204" pitchFamily="34" charset="0"/>
        <a:buNone/>
        <a:defRPr sz="1055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Font typeface="Arial" panose="020B0604020202020204" pitchFamily="34" charset="0"/>
        <a:buNone/>
        <a:defRPr sz="1055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482163" rtl="0" eaLnBrk="1" latinLnBrk="0" hangingPunct="1">
        <a:lnSpc>
          <a:spcPct val="100000"/>
        </a:lnSpc>
        <a:spcBef>
          <a:spcPts val="0"/>
        </a:spcBef>
        <a:spcAft>
          <a:spcPts val="527"/>
        </a:spcAft>
        <a:buFont typeface="Arial" panose="020B0604020202020204" pitchFamily="34" charset="0"/>
        <a:buNone/>
        <a:defRPr sz="1055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1pPr>
      <a:lvl2pPr marL="241082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2pPr>
      <a:lvl3pPr marL="482163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3pPr>
      <a:lvl4pPr marL="723245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4pPr>
      <a:lvl5pPr marL="964326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5pPr>
      <a:lvl6pPr marL="1205408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6pPr>
      <a:lvl7pPr marL="1446489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7pPr>
      <a:lvl8pPr marL="1687571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8pPr>
      <a:lvl9pPr marL="1928652" algn="l" defTabSz="482163" rtl="0" eaLnBrk="1" latinLnBrk="0" hangingPunct="1">
        <a:defRPr sz="9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7.jpe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1.xml"/><Relationship Id="rId2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graph of stock market&#10;&#10;AI-generated content may be incorrect.">
            <a:extLst>
              <a:ext uri="{FF2B5EF4-FFF2-40B4-BE49-F238E27FC236}">
                <a16:creationId xmlns:a16="http://schemas.microsoft.com/office/drawing/2014/main" id="{164572FB-CC54-53D2-4081-45F25678BE4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t="4051" b="4051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521BB72C-37B2-AC40-FF65-03D11E06A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Portfolio Performance Overview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31520" y="5486400"/>
            <a:ext cx="822960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 algn="l">
              <a:defRPr sz="1600"/>
            </a:pPr>
            <a:r>
              <a:t>Last updated on the 16 November 2025 at 04:32 PM</a:t>
            </a:r>
          </a:p>
        </p:txBody>
      </p:sp>
    </p:spTree>
    <p:extLst>
      <p:ext uri="{BB962C8B-B14F-4D97-AF65-F5344CB8AC3E}">
        <p14:creationId xmlns:p14="http://schemas.microsoft.com/office/powerpoint/2010/main" val="127764754"/>
      </p:ext>
    </p:extLst>
  </p:cSld>
  <p:clrMapOvr>
    <a:masterClrMapping/>
  </p:clrMapOvr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rade Plan and Brokerage Overview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228600" y="1645920"/>
          <a:ext cx="4297675" cy="2734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9007"/>
                <a:gridCol w="526156"/>
                <a:gridCol w="486362"/>
                <a:gridCol w="486362"/>
                <a:gridCol w="751651"/>
                <a:gridCol w="676486"/>
                <a:gridCol w="751651"/>
              </a:tblGrid>
              <a:tr h="210312"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Security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Current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Target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Change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Last Price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Brokerage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Cash Flow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A2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7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24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7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44.56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$1,022.92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ACDC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6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8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2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36.23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$272.46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AT1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20334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9707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627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3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7.18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BHP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66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5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61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42.75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2,596.75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BLOK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22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9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91.44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$1,737.30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ETHI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44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265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21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6.5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$2,007.50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FMG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49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149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20.23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3,003.27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GME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2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2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31.6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$379.14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LKE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65482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65482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6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3,721.47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MQG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2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12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200.58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2,395.96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MTUM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8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61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19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29.19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543.61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NDQ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8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66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28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56.24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$1,585.72</a:t>
                      </a: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572000" y="1645920"/>
          <a:ext cx="4297675" cy="2734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9007"/>
                <a:gridCol w="526156"/>
                <a:gridCol w="486362"/>
                <a:gridCol w="486362"/>
                <a:gridCol w="751651"/>
                <a:gridCol w="676486"/>
                <a:gridCol w="751651"/>
              </a:tblGrid>
              <a:tr h="210312"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Security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Current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Target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Change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Last Price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Brokerage</a:t>
                      </a:r>
                    </a:p>
                  </a:txBody>
                  <a:tcPr/>
                </a:tc>
                <a:tc>
                  <a:txBody>
                    <a:bodyPr wrap="none" lIns="0" rIns="0">
                      <a:normAutofit/>
                    </a:bodyPr>
                    <a:lstStyle/>
                    <a:p>
                      <a:pPr algn="ctr">
                        <a:defRPr b="1" sz="800"/>
                      </a:pPr>
                      <a:r>
                        <a:t>Cash Flow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PNV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563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67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1396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.16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,615.34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QLTY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72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25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53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33.06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$1,763.18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QUAL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4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56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6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61.43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$993.88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SMH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2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1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527.58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527.58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SMLL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477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946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469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4.62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$2,177.78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VDHG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4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63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29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73.53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$2,143.37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VLUE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75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33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58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32.9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$1,919.20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VMIN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42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5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8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63.04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$515.32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VSO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65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5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76.44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$2,686.40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VVLU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1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41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78.55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$796.50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WDS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125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125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26.24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3,269.00</a:t>
                      </a:r>
                    </a:p>
                  </a:txBody>
                  <a:tcPr/>
                </a:tc>
              </a:tr>
              <a:tr h="210312">
                <a:tc>
                  <a:txBody>
                    <a:bodyPr wrap="none"/>
                    <a:lstStyle/>
                    <a:p>
                      <a:pPr algn="ctr">
                        <a:defRPr sz="900" b="1"/>
                      </a:pPr>
                      <a:r>
                        <a:t>YMAX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373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74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-299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7.45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11.00</a:t>
                      </a:r>
                    </a:p>
                  </a:txBody>
                  <a:tcPr/>
                </a:tc>
                <a:tc>
                  <a:txBody>
                    <a:bodyPr wrap="none"/>
                    <a:lstStyle/>
                    <a:p>
                      <a:pPr algn="ctr">
                        <a:defRPr sz="900"/>
                      </a:pPr>
                      <a:r>
                        <a:t>$2,216.55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57200" y="1005840"/>
            <a:ext cx="8229600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/>
          <a:p>
            <a:pPr algn="ctr">
              <a:defRPr sz="1400" b="1"/>
            </a:pPr>
            <a:r>
              <a:rPr sz="1400" b="1"/>
              <a:t>Total Portfolio: $52,308.29</a:t>
            </a:r>
            <a:r>
              <a:rPr sz="1400">
                <a:solidFill>
                  <a:srgbClr val="C00000"/>
                </a:solidFill>
              </a:rPr>
              <a:t> (-127.04)</a:t>
            </a:r>
            <a:r>
              <a:rPr sz="1400" b="1">
                <a:solidFill>
                  <a:srgbClr val="000000"/>
                </a:solidFill>
              </a:rPr>
              <a:t>     Total Brokerage: $220.00     </a:t>
            </a:r>
            <a:r>
              <a:rPr sz="1400" b="1"/>
              <a:t>Net Invested: $52,528.29</a:t>
            </a:r>
            <a:r>
              <a:rPr sz="1400">
                <a:solidFill>
                  <a:srgbClr val="C00000"/>
                </a:solidFill>
              </a:rPr>
              <a:t> (-116.04)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Portfolio Performance</a:t>
            </a:r>
          </a:p>
        </p:txBody>
      </p:sp>
      <p:pic>
        <p:nvPicPr>
          <p:cNvPr id="3" name="Picture 2" descr="perf_vs_indices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520" y="1188720"/>
            <a:ext cx="7498079" cy="402336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bus PowerPoint Theme">
  <a:themeElements>
    <a:clrScheme name="CBUS PPT">
      <a:dk1>
        <a:sysClr val="windowText" lastClr="000000"/>
      </a:dk1>
      <a:lt1>
        <a:sysClr val="window" lastClr="FFFFFF"/>
      </a:lt1>
      <a:dk2>
        <a:srgbClr val="5E5E5D"/>
      </a:dk2>
      <a:lt2>
        <a:srgbClr val="7EC4A2"/>
      </a:lt2>
      <a:accent1>
        <a:srgbClr val="005DAA"/>
      </a:accent1>
      <a:accent2>
        <a:srgbClr val="81BD41"/>
      </a:accent2>
      <a:accent3>
        <a:srgbClr val="33A038"/>
      </a:accent3>
      <a:accent4>
        <a:srgbClr val="D57920"/>
      </a:accent4>
      <a:accent5>
        <a:srgbClr val="EAB813"/>
      </a:accent5>
      <a:accent6>
        <a:srgbClr val="008A44"/>
      </a:accent6>
      <a:hlink>
        <a:srgbClr val="BBD9EA"/>
      </a:hlink>
      <a:folHlink>
        <a:srgbClr val="3C90D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bus PowerPoint Theme" id="{8A91E39A-4D15-4A8F-B1F2-ADDF6F0AA312}" vid="{26659C4F-CFCF-4DC4-B43F-649DA43B19A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 Theme</Template>
  <TotalTime>6</TotalTime>
  <Words>0</Words>
  <Application>Microsoft Office PowerPoint</Application>
  <PresentationFormat>On-screen Show (4:3)</PresentationFormat>
  <Paragraphs>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Roboto</vt:lpstr>
      <vt:lpstr>Cbus PowerPoint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IONN WYATT GUINA</dc:creator>
  <cp:lastModifiedBy>FIONN WYATT GUINA</cp:lastModifiedBy>
  <cp:revision>3</cp:revision>
  <dcterms:created xsi:type="dcterms:W3CDTF">2025-11-08T04:21:46Z</dcterms:created>
  <dcterms:modified xsi:type="dcterms:W3CDTF">2025-11-09T06:16:08Z</dcterms:modified>
</cp:coreProperties>
</file>